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9D"/>
    <a:srgbClr val="E3E8EB"/>
    <a:srgbClr val="DFE3E7"/>
    <a:srgbClr val="E4E9ED"/>
    <a:srgbClr val="002A4E"/>
    <a:srgbClr val="F6BE07"/>
    <a:srgbClr val="0062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55" autoAdjust="0"/>
    <p:restoredTop sz="94657" autoAdjust="0"/>
  </p:normalViewPr>
  <p:slideViewPr>
    <p:cSldViewPr snapToGrid="0">
      <p:cViewPr varScale="1">
        <p:scale>
          <a:sx n="99" d="100"/>
          <a:sy n="99" d="100"/>
        </p:scale>
        <p:origin x="1128" y="30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2528" y="56"/>
      </p:cViewPr>
      <p:guideLst/>
    </p:cSldViewPr>
  </p:notes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docProps/app.xml><?xml version="1.0" encoding="utf-8"?>
<Properties xmlns="http://schemas.openxmlformats.org/officeDocument/2006/extended-properties" xmlns:vt="http://schemas.openxmlformats.org/officeDocument/2006/docPropsVTypes">
  <Template>SEC2024_presentation template</Template>
  <TotalTime>4638</TotalTime>
  <Words>2521</Words>
  <Application>Microsoft Office PowerPoint</Application>
  <PresentationFormat>Widescreen</PresentationFormat>
  <Paragraphs>385</Paragraphs>
  <Slides>38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5" baseType="lpstr">
      <vt:lpstr>ＭＳ Ｐゴシック</vt:lpstr>
      <vt:lpstr>Arial</vt:lpstr>
      <vt:lpstr>Calibri</vt:lpstr>
      <vt:lpstr>Montserrat ExtraBold</vt:lpstr>
      <vt:lpstr>Poppins</vt:lpstr>
      <vt:lpstr>Office Theme</vt:lpstr>
      <vt:lpstr>think-cell Slide</vt:lpstr>
      <vt:lpstr>IEEE 101 </vt:lpstr>
      <vt:lpstr>Inspiring a Global Community of Innovation</vt:lpstr>
      <vt:lpstr>The IEEE Promise</vt:lpstr>
      <vt:lpstr>IEEE at a Glance</vt:lpstr>
      <vt:lpstr>IEEE is a Public Charity </vt:lpstr>
      <vt:lpstr>IEEE Legacy </vt:lpstr>
      <vt:lpstr>IEEE Organization &amp; Governance </vt:lpstr>
      <vt:lpstr>Technical Know-How that is Broad and Deep</vt:lpstr>
      <vt:lpstr>IEEE Volunteer Leadership </vt:lpstr>
      <vt:lpstr>2025 IEEE Presidents </vt:lpstr>
      <vt:lpstr>IEEE Board of Directors</vt:lpstr>
      <vt:lpstr>2025 Major Operating Units Volunteer Leaders </vt:lpstr>
      <vt:lpstr>2025 IEEE Secretary and Treasurer</vt:lpstr>
      <vt:lpstr>2025 Region and Division Directors </vt:lpstr>
      <vt:lpstr>Liaisons to the Board for 2025</vt:lpstr>
      <vt:lpstr>IEEE Assembly </vt:lpstr>
      <vt:lpstr>2026 President-Elect Candidates </vt:lpstr>
      <vt:lpstr>IEEE Professional Staff </vt:lpstr>
      <vt:lpstr>Global Solutions to Global Challenges </vt:lpstr>
      <vt:lpstr>IEEE Management Council:                        Professional Staff Leadership </vt:lpstr>
      <vt:lpstr>About the IEEE Professional Staff</vt:lpstr>
      <vt:lpstr>What + If = IEEE </vt:lpstr>
      <vt:lpstr>Benefits of Membership</vt:lpstr>
      <vt:lpstr>IEEE Future Directions</vt:lpstr>
      <vt:lpstr>IEEE Publications</vt:lpstr>
      <vt:lpstr>IEEE Xplore Digital Library</vt:lpstr>
      <vt:lpstr>IEEE Standards Association </vt:lpstr>
      <vt:lpstr>Continuing Education:                                            IEEE Learning Network (ILN)</vt:lpstr>
      <vt:lpstr>Pre-University STEM Education Resources</vt:lpstr>
      <vt:lpstr>IEEE Humanitarian Technologies</vt:lpstr>
      <vt:lpstr>IEEE Foundation:  Benefitting IEEE’s Mission</vt:lpstr>
      <vt:lpstr>2025 Strategic Focus </vt:lpstr>
      <vt:lpstr>One IEEE </vt:lpstr>
      <vt:lpstr>2025 IEEE Board of Directors  Ad hoc Committees</vt:lpstr>
      <vt:lpstr>PowerPoint Presentation</vt:lpstr>
      <vt:lpstr>Next Phase – Goal Metrics and Alignment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igorian, Eric</dc:creator>
  <cp:lastModifiedBy>Pat Donohoe</cp:lastModifiedBy>
  <cp:revision>27</cp:revision>
  <dcterms:created xsi:type="dcterms:W3CDTF">2024-01-28T22:59:39Z</dcterms:created>
  <dcterms:modified xsi:type="dcterms:W3CDTF">2025-03-26T19:45:39Z</dcterms:modified>
</cp:coreProperties>
</file>